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  <a:srgbClr val="000000"/>
    <a:srgbClr val="843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4" d="100"/>
          <a:sy n="84" d="100"/>
        </p:scale>
        <p:origin x="134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8452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6133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473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9182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0424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1523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7330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848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4766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887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177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46EB1-D526-4614-8411-98BE29F1FE62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3219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7526003" y="638115"/>
            <a:ext cx="35595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b) Market-based </a:t>
            </a:r>
            <a:r>
              <a:rPr lang="de-DE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ounting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1137934" y="638115"/>
            <a:ext cx="3477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>
                <a:latin typeface="Arial" panose="020B0604020202020204" pitchFamily="34" charset="0"/>
                <a:cs typeface="Arial" panose="020B0604020202020204" pitchFamily="34" charset="0"/>
              </a:rPr>
              <a:t>a) Location-based </a:t>
            </a:r>
            <a:r>
              <a:rPr lang="de-DE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ounting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/>
              <p:cNvSpPr txBox="1"/>
              <p:nvPr/>
            </p:nvSpPr>
            <p:spPr>
              <a:xfrm>
                <a:off x="1267873" y="5727111"/>
                <a:ext cx="3217985" cy="636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𝐹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𝑋</m:t>
                          </m:r>
                          <m:r>
                            <a:rPr lang="de-DE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de-DE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𝑔</m:t>
                          </m:r>
                          <m:r>
                            <a:rPr lang="de-DE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de-DE" i="1">
                                  <a:solidFill>
                                    <a:schemeClr val="bg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solidFill>
                                    <a:schemeClr val="bg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𝐶𝑂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bg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i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𝑒</m:t>
                          </m:r>
                        </m:num>
                        <m:den>
                          <m:r>
                            <a:rPr lang="de-DE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𝑌</m:t>
                          </m:r>
                          <m:r>
                            <a:rPr lang="de-DE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de-DE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𝑘𝑊h</m:t>
                          </m:r>
                        </m:den>
                      </m:f>
                    </m:oMath>
                  </m:oMathPara>
                </a14:m>
                <a:endParaRPr lang="de-DE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5" name="Textfeld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7873" y="5727111"/>
                <a:ext cx="3217985" cy="63658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5" name="Gruppieren 74"/>
          <p:cNvGrpSpPr/>
          <p:nvPr/>
        </p:nvGrpSpPr>
        <p:grpSpPr>
          <a:xfrm>
            <a:off x="539630" y="1418304"/>
            <a:ext cx="4674470" cy="4052290"/>
            <a:chOff x="1589344" y="937658"/>
            <a:chExt cx="4674470" cy="4052290"/>
          </a:xfrm>
        </p:grpSpPr>
        <p:sp>
          <p:nvSpPr>
            <p:cNvPr id="2" name="Pfeil nach rechts 1"/>
            <p:cNvSpPr/>
            <p:nvPr/>
          </p:nvSpPr>
          <p:spPr>
            <a:xfrm rot="10800000">
              <a:off x="2417522" y="3373526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89344" y="3157526"/>
              <a:ext cx="720000" cy="720000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000" dirty="0"/>
            </a:p>
          </p:txBody>
        </p:sp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9701" y="3008693"/>
              <a:ext cx="720000" cy="1017666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0059" y="3140783"/>
              <a:ext cx="432000" cy="753487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5502" y="2107156"/>
              <a:ext cx="641113" cy="720000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059" y="4204420"/>
              <a:ext cx="720000" cy="692263"/>
            </a:xfrm>
            <a:prstGeom prst="rect">
              <a:avLst/>
            </a:prstGeom>
            <a:noFill/>
          </p:spPr>
        </p:pic>
        <p:sp>
          <p:nvSpPr>
            <p:cNvPr id="9" name="Freeform 969">
              <a:extLst>
                <a:ext uri="{FF2B5EF4-FFF2-40B4-BE49-F238E27FC236}">
                  <a16:creationId xmlns:a16="http://schemas.microsoft.com/office/drawing/2014/main" id="{DD44BB81-456B-40F4-A25F-61D25C4EA4B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67933" y="1002310"/>
              <a:ext cx="918542" cy="677309"/>
            </a:xfrm>
            <a:custGeom>
              <a:avLst/>
              <a:gdLst>
                <a:gd name="T0" fmla="*/ 502 w 627"/>
                <a:gd name="T1" fmla="*/ 460 h 460"/>
                <a:gd name="T2" fmla="*/ 146 w 627"/>
                <a:gd name="T3" fmla="*/ 460 h 460"/>
                <a:gd name="T4" fmla="*/ 0 w 627"/>
                <a:gd name="T5" fmla="*/ 314 h 460"/>
                <a:gd name="T6" fmla="*/ 84 w 627"/>
                <a:gd name="T7" fmla="*/ 181 h 460"/>
                <a:gd name="T8" fmla="*/ 83 w 627"/>
                <a:gd name="T9" fmla="*/ 167 h 460"/>
                <a:gd name="T10" fmla="*/ 251 w 627"/>
                <a:gd name="T11" fmla="*/ 0 h 460"/>
                <a:gd name="T12" fmla="*/ 406 w 627"/>
                <a:gd name="T13" fmla="*/ 104 h 460"/>
                <a:gd name="T14" fmla="*/ 460 w 627"/>
                <a:gd name="T15" fmla="*/ 84 h 460"/>
                <a:gd name="T16" fmla="*/ 543 w 627"/>
                <a:gd name="T17" fmla="*/ 167 h 460"/>
                <a:gd name="T18" fmla="*/ 530 w 627"/>
                <a:gd name="T19" fmla="*/ 212 h 460"/>
                <a:gd name="T20" fmla="*/ 627 w 627"/>
                <a:gd name="T21" fmla="*/ 335 h 460"/>
                <a:gd name="T22" fmla="*/ 502 w 627"/>
                <a:gd name="T23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460">
                  <a:moveTo>
                    <a:pt x="502" y="460"/>
                  </a:moveTo>
                  <a:cubicBezTo>
                    <a:pt x="146" y="460"/>
                    <a:pt x="146" y="460"/>
                    <a:pt x="146" y="460"/>
                  </a:cubicBezTo>
                  <a:cubicBezTo>
                    <a:pt x="65" y="460"/>
                    <a:pt x="0" y="394"/>
                    <a:pt x="0" y="314"/>
                  </a:cubicBezTo>
                  <a:cubicBezTo>
                    <a:pt x="0" y="255"/>
                    <a:pt x="34" y="204"/>
                    <a:pt x="84" y="181"/>
                  </a:cubicBezTo>
                  <a:cubicBezTo>
                    <a:pt x="84" y="177"/>
                    <a:pt x="83" y="172"/>
                    <a:pt x="83" y="167"/>
                  </a:cubicBezTo>
                  <a:cubicBezTo>
                    <a:pt x="83" y="75"/>
                    <a:pt x="158" y="0"/>
                    <a:pt x="251" y="0"/>
                  </a:cubicBezTo>
                  <a:cubicBezTo>
                    <a:pt x="321" y="0"/>
                    <a:pt x="380" y="43"/>
                    <a:pt x="406" y="104"/>
                  </a:cubicBezTo>
                  <a:cubicBezTo>
                    <a:pt x="420" y="91"/>
                    <a:pt x="439" y="84"/>
                    <a:pt x="460" y="84"/>
                  </a:cubicBezTo>
                  <a:cubicBezTo>
                    <a:pt x="506" y="84"/>
                    <a:pt x="543" y="121"/>
                    <a:pt x="543" y="167"/>
                  </a:cubicBezTo>
                  <a:cubicBezTo>
                    <a:pt x="543" y="184"/>
                    <a:pt x="538" y="199"/>
                    <a:pt x="530" y="212"/>
                  </a:cubicBezTo>
                  <a:cubicBezTo>
                    <a:pt x="586" y="225"/>
                    <a:pt x="627" y="275"/>
                    <a:pt x="627" y="335"/>
                  </a:cubicBezTo>
                  <a:cubicBezTo>
                    <a:pt x="627" y="404"/>
                    <a:pt x="571" y="460"/>
                    <a:pt x="502" y="46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27587" y="3270863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Pfeil nach rechts 18"/>
            <p:cNvSpPr/>
            <p:nvPr/>
          </p:nvSpPr>
          <p:spPr>
            <a:xfrm rot="10800000">
              <a:off x="4037880" y="3373526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Pfeil nach rechts 19"/>
            <p:cNvSpPr/>
            <p:nvPr/>
          </p:nvSpPr>
          <p:spPr>
            <a:xfrm rot="8100000">
              <a:off x="4037882" y="2719930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Pfeil nach rechts 23"/>
            <p:cNvSpPr/>
            <p:nvPr/>
          </p:nvSpPr>
          <p:spPr>
            <a:xfrm rot="13500000">
              <a:off x="4039534" y="4062898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47945" y="2617268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47945" y="3270863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49598" y="3960236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Ellipse 17"/>
            <p:cNvSpPr/>
            <p:nvPr/>
          </p:nvSpPr>
          <p:spPr>
            <a:xfrm>
              <a:off x="4873625" y="1992781"/>
              <a:ext cx="72000" cy="72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Ellipse 32"/>
            <p:cNvSpPr/>
            <p:nvPr/>
          </p:nvSpPr>
          <p:spPr>
            <a:xfrm>
              <a:off x="4960333" y="1852350"/>
              <a:ext cx="108000" cy="108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Ellipse 33"/>
            <p:cNvSpPr/>
            <p:nvPr/>
          </p:nvSpPr>
          <p:spPr>
            <a:xfrm>
              <a:off x="5060690" y="1686195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5034021" y="1030767"/>
              <a:ext cx="11863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CO</a:t>
              </a:r>
              <a:r>
                <a:rPr lang="de-DE" baseline="-25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endPara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2303918" y="2901531"/>
              <a:ext cx="911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r>
                <a:rPr lang="de-DE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kWh</a:t>
              </a:r>
              <a:endParaRPr lang="de-D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888841" y="937658"/>
              <a:ext cx="2374973" cy="4052290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feld 60"/>
              <p:cNvSpPr txBox="1"/>
              <p:nvPr/>
            </p:nvSpPr>
            <p:spPr>
              <a:xfrm>
                <a:off x="7696762" y="5727111"/>
                <a:ext cx="3217985" cy="636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𝐸𝐹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0</m:t>
                          </m:r>
                          <m:r>
                            <a:rPr lang="de-DE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de-DE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𝑔</m:t>
                          </m:r>
                          <m:r>
                            <a:rPr lang="de-DE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de-DE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𝐶𝑂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accent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de-DE" i="1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𝑒</m:t>
                          </m:r>
                        </m:num>
                        <m:den>
                          <m:r>
                            <a:rPr lang="de-DE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𝑌</m:t>
                          </m:r>
                          <m:r>
                            <a:rPr lang="de-DE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de-DE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𝑘𝑊h</m:t>
                          </m:r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0</m:t>
                      </m:r>
                    </m:oMath>
                  </m:oMathPara>
                </a14:m>
                <a:endParaRPr lang="de-DE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61" name="Textfeld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762" y="5727111"/>
                <a:ext cx="3217985" cy="63658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6" name="Gruppieren 75"/>
          <p:cNvGrpSpPr/>
          <p:nvPr/>
        </p:nvGrpSpPr>
        <p:grpSpPr>
          <a:xfrm>
            <a:off x="6910720" y="1418304"/>
            <a:ext cx="4790068" cy="4167372"/>
            <a:chOff x="6937528" y="1002310"/>
            <a:chExt cx="4790068" cy="4167372"/>
          </a:xfrm>
        </p:grpSpPr>
        <p:sp>
          <p:nvSpPr>
            <p:cNvPr id="38" name="Pfeil nach rechts 37"/>
            <p:cNvSpPr/>
            <p:nvPr/>
          </p:nvSpPr>
          <p:spPr>
            <a:xfrm rot="10800000">
              <a:off x="7765706" y="3373526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37528" y="3157526"/>
              <a:ext cx="720000" cy="720000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000" dirty="0"/>
            </a:p>
          </p:txBody>
        </p:sp>
        <p:pic>
          <p:nvPicPr>
            <p:cNvPr id="40" name="Grafik 3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7885" y="3008693"/>
              <a:ext cx="720000" cy="1017666"/>
            </a:xfrm>
            <a:prstGeom prst="rect">
              <a:avLst/>
            </a:prstGeom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8243" y="3140783"/>
              <a:ext cx="432000" cy="753487"/>
            </a:xfrm>
            <a:prstGeom prst="rect">
              <a:avLst/>
            </a:prstGeom>
          </p:spPr>
        </p:pic>
        <p:pic>
          <p:nvPicPr>
            <p:cNvPr id="42" name="Grafik 4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3686" y="2107156"/>
              <a:ext cx="641113" cy="720000"/>
            </a:xfrm>
            <a:prstGeom prst="rect">
              <a:avLst/>
            </a:prstGeom>
          </p:spPr>
        </p:pic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4243" y="4204420"/>
              <a:ext cx="720000" cy="692263"/>
            </a:xfrm>
            <a:prstGeom prst="rect">
              <a:avLst/>
            </a:prstGeom>
            <a:noFill/>
          </p:spPr>
        </p:pic>
        <p:sp>
          <p:nvSpPr>
            <p:cNvPr id="44" name="Freeform 969">
              <a:extLst>
                <a:ext uri="{FF2B5EF4-FFF2-40B4-BE49-F238E27FC236}">
                  <a16:creationId xmlns:a16="http://schemas.microsoft.com/office/drawing/2014/main" id="{DD44BB81-456B-40F4-A25F-61D25C4EA4B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516117" y="1002310"/>
              <a:ext cx="918542" cy="677309"/>
            </a:xfrm>
            <a:custGeom>
              <a:avLst/>
              <a:gdLst>
                <a:gd name="T0" fmla="*/ 502 w 627"/>
                <a:gd name="T1" fmla="*/ 460 h 460"/>
                <a:gd name="T2" fmla="*/ 146 w 627"/>
                <a:gd name="T3" fmla="*/ 460 h 460"/>
                <a:gd name="T4" fmla="*/ 0 w 627"/>
                <a:gd name="T5" fmla="*/ 314 h 460"/>
                <a:gd name="T6" fmla="*/ 84 w 627"/>
                <a:gd name="T7" fmla="*/ 181 h 460"/>
                <a:gd name="T8" fmla="*/ 83 w 627"/>
                <a:gd name="T9" fmla="*/ 167 h 460"/>
                <a:gd name="T10" fmla="*/ 251 w 627"/>
                <a:gd name="T11" fmla="*/ 0 h 460"/>
                <a:gd name="T12" fmla="*/ 406 w 627"/>
                <a:gd name="T13" fmla="*/ 104 h 460"/>
                <a:gd name="T14" fmla="*/ 460 w 627"/>
                <a:gd name="T15" fmla="*/ 84 h 460"/>
                <a:gd name="T16" fmla="*/ 543 w 627"/>
                <a:gd name="T17" fmla="*/ 167 h 460"/>
                <a:gd name="T18" fmla="*/ 530 w 627"/>
                <a:gd name="T19" fmla="*/ 212 h 460"/>
                <a:gd name="T20" fmla="*/ 627 w 627"/>
                <a:gd name="T21" fmla="*/ 335 h 460"/>
                <a:gd name="T22" fmla="*/ 502 w 627"/>
                <a:gd name="T23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460">
                  <a:moveTo>
                    <a:pt x="502" y="460"/>
                  </a:moveTo>
                  <a:cubicBezTo>
                    <a:pt x="146" y="460"/>
                    <a:pt x="146" y="460"/>
                    <a:pt x="146" y="460"/>
                  </a:cubicBezTo>
                  <a:cubicBezTo>
                    <a:pt x="65" y="460"/>
                    <a:pt x="0" y="394"/>
                    <a:pt x="0" y="314"/>
                  </a:cubicBezTo>
                  <a:cubicBezTo>
                    <a:pt x="0" y="255"/>
                    <a:pt x="34" y="204"/>
                    <a:pt x="84" y="181"/>
                  </a:cubicBezTo>
                  <a:cubicBezTo>
                    <a:pt x="84" y="177"/>
                    <a:pt x="83" y="172"/>
                    <a:pt x="83" y="167"/>
                  </a:cubicBezTo>
                  <a:cubicBezTo>
                    <a:pt x="83" y="75"/>
                    <a:pt x="158" y="0"/>
                    <a:pt x="251" y="0"/>
                  </a:cubicBezTo>
                  <a:cubicBezTo>
                    <a:pt x="321" y="0"/>
                    <a:pt x="380" y="43"/>
                    <a:pt x="406" y="104"/>
                  </a:cubicBezTo>
                  <a:cubicBezTo>
                    <a:pt x="420" y="91"/>
                    <a:pt x="439" y="84"/>
                    <a:pt x="460" y="84"/>
                  </a:cubicBezTo>
                  <a:cubicBezTo>
                    <a:pt x="506" y="84"/>
                    <a:pt x="543" y="121"/>
                    <a:pt x="543" y="167"/>
                  </a:cubicBezTo>
                  <a:cubicBezTo>
                    <a:pt x="543" y="184"/>
                    <a:pt x="538" y="199"/>
                    <a:pt x="530" y="212"/>
                  </a:cubicBezTo>
                  <a:cubicBezTo>
                    <a:pt x="586" y="225"/>
                    <a:pt x="627" y="275"/>
                    <a:pt x="627" y="335"/>
                  </a:cubicBezTo>
                  <a:cubicBezTo>
                    <a:pt x="627" y="404"/>
                    <a:pt x="571" y="460"/>
                    <a:pt x="502" y="46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975771" y="3270863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Pfeil nach rechts 45"/>
            <p:cNvSpPr/>
            <p:nvPr/>
          </p:nvSpPr>
          <p:spPr>
            <a:xfrm rot="10800000">
              <a:off x="9386064" y="3373526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Pfeil nach rechts 46"/>
            <p:cNvSpPr/>
            <p:nvPr/>
          </p:nvSpPr>
          <p:spPr>
            <a:xfrm rot="8100000">
              <a:off x="9386066" y="2719930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Pfeil nach rechts 47"/>
            <p:cNvSpPr/>
            <p:nvPr/>
          </p:nvSpPr>
          <p:spPr>
            <a:xfrm rot="13500000">
              <a:off x="9387718" y="4062898"/>
              <a:ext cx="684000" cy="288000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96129" y="2617268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96129" y="3270863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1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97782" y="3960236"/>
              <a:ext cx="263871" cy="493324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2" name="Ellipse 51"/>
            <p:cNvSpPr/>
            <p:nvPr/>
          </p:nvSpPr>
          <p:spPr>
            <a:xfrm>
              <a:off x="10221809" y="1992781"/>
              <a:ext cx="72000" cy="72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Ellipse 52"/>
            <p:cNvSpPr/>
            <p:nvPr/>
          </p:nvSpPr>
          <p:spPr>
            <a:xfrm>
              <a:off x="10308517" y="1852350"/>
              <a:ext cx="108000" cy="108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Ellipse 53"/>
            <p:cNvSpPr/>
            <p:nvPr/>
          </p:nvSpPr>
          <p:spPr>
            <a:xfrm>
              <a:off x="10408874" y="1686195"/>
              <a:ext cx="144000" cy="144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10382205" y="1030767"/>
              <a:ext cx="11863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  <a:b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CO</a:t>
              </a:r>
              <a:r>
                <a:rPr lang="de-DE" baseline="-25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endPara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652102" y="2901531"/>
              <a:ext cx="9112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r>
                <a:rPr lang="de-DE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kWh</a:t>
              </a:r>
              <a:endParaRPr lang="de-D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9237025" y="3930128"/>
              <a:ext cx="2374973" cy="1059820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Freeform 969">
              <a:extLst>
                <a:ext uri="{FF2B5EF4-FFF2-40B4-BE49-F238E27FC236}">
                  <a16:creationId xmlns:a16="http://schemas.microsoft.com/office/drawing/2014/main" id="{DD44BB81-456B-40F4-A25F-61D25C4EA4B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675142" y="3964736"/>
              <a:ext cx="918542" cy="677309"/>
            </a:xfrm>
            <a:custGeom>
              <a:avLst/>
              <a:gdLst>
                <a:gd name="T0" fmla="*/ 502 w 627"/>
                <a:gd name="T1" fmla="*/ 460 h 460"/>
                <a:gd name="T2" fmla="*/ 146 w 627"/>
                <a:gd name="T3" fmla="*/ 460 h 460"/>
                <a:gd name="T4" fmla="*/ 0 w 627"/>
                <a:gd name="T5" fmla="*/ 314 h 460"/>
                <a:gd name="T6" fmla="*/ 84 w 627"/>
                <a:gd name="T7" fmla="*/ 181 h 460"/>
                <a:gd name="T8" fmla="*/ 83 w 627"/>
                <a:gd name="T9" fmla="*/ 167 h 460"/>
                <a:gd name="T10" fmla="*/ 251 w 627"/>
                <a:gd name="T11" fmla="*/ 0 h 460"/>
                <a:gd name="T12" fmla="*/ 406 w 627"/>
                <a:gd name="T13" fmla="*/ 104 h 460"/>
                <a:gd name="T14" fmla="*/ 460 w 627"/>
                <a:gd name="T15" fmla="*/ 84 h 460"/>
                <a:gd name="T16" fmla="*/ 543 w 627"/>
                <a:gd name="T17" fmla="*/ 167 h 460"/>
                <a:gd name="T18" fmla="*/ 530 w 627"/>
                <a:gd name="T19" fmla="*/ 212 h 460"/>
                <a:gd name="T20" fmla="*/ 627 w 627"/>
                <a:gd name="T21" fmla="*/ 335 h 460"/>
                <a:gd name="T22" fmla="*/ 502 w 627"/>
                <a:gd name="T23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460">
                  <a:moveTo>
                    <a:pt x="502" y="460"/>
                  </a:moveTo>
                  <a:cubicBezTo>
                    <a:pt x="146" y="460"/>
                    <a:pt x="146" y="460"/>
                    <a:pt x="146" y="460"/>
                  </a:cubicBezTo>
                  <a:cubicBezTo>
                    <a:pt x="65" y="460"/>
                    <a:pt x="0" y="394"/>
                    <a:pt x="0" y="314"/>
                  </a:cubicBezTo>
                  <a:cubicBezTo>
                    <a:pt x="0" y="255"/>
                    <a:pt x="34" y="204"/>
                    <a:pt x="84" y="181"/>
                  </a:cubicBezTo>
                  <a:cubicBezTo>
                    <a:pt x="84" y="177"/>
                    <a:pt x="83" y="172"/>
                    <a:pt x="83" y="167"/>
                  </a:cubicBezTo>
                  <a:cubicBezTo>
                    <a:pt x="83" y="75"/>
                    <a:pt x="158" y="0"/>
                    <a:pt x="251" y="0"/>
                  </a:cubicBezTo>
                  <a:cubicBezTo>
                    <a:pt x="321" y="0"/>
                    <a:pt x="380" y="43"/>
                    <a:pt x="406" y="104"/>
                  </a:cubicBezTo>
                  <a:cubicBezTo>
                    <a:pt x="420" y="91"/>
                    <a:pt x="439" y="84"/>
                    <a:pt x="460" y="84"/>
                  </a:cubicBezTo>
                  <a:cubicBezTo>
                    <a:pt x="506" y="84"/>
                    <a:pt x="543" y="121"/>
                    <a:pt x="543" y="167"/>
                  </a:cubicBezTo>
                  <a:cubicBezTo>
                    <a:pt x="543" y="184"/>
                    <a:pt x="538" y="199"/>
                    <a:pt x="530" y="212"/>
                  </a:cubicBezTo>
                  <a:cubicBezTo>
                    <a:pt x="586" y="225"/>
                    <a:pt x="627" y="275"/>
                    <a:pt x="627" y="335"/>
                  </a:cubicBezTo>
                  <a:cubicBezTo>
                    <a:pt x="627" y="404"/>
                    <a:pt x="571" y="460"/>
                    <a:pt x="502" y="4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0" name="Textfeld 59"/>
            <p:cNvSpPr txBox="1"/>
            <p:nvPr/>
          </p:nvSpPr>
          <p:spPr>
            <a:xfrm>
              <a:off x="10541230" y="3993193"/>
              <a:ext cx="11863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b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CO</a:t>
              </a:r>
              <a:r>
                <a:rPr lang="de-DE" baseline="-25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endPara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Nach oben gebogener Pfeil 62"/>
            <p:cNvSpPr/>
            <p:nvPr/>
          </p:nvSpPr>
          <p:spPr>
            <a:xfrm rot="5400000">
              <a:off x="8286046" y="3060261"/>
              <a:ext cx="738253" cy="2585550"/>
            </a:xfrm>
            <a:prstGeom prst="bentUpArrow">
              <a:avLst>
                <a:gd name="adj1" fmla="val 15969"/>
                <a:gd name="adj2" fmla="val 16614"/>
                <a:gd name="adj3" fmla="val 1725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4" name="Nach oben gebogener Pfeil 63"/>
            <p:cNvSpPr/>
            <p:nvPr/>
          </p:nvSpPr>
          <p:spPr>
            <a:xfrm rot="10800000" flipV="1">
              <a:off x="7056555" y="3976583"/>
              <a:ext cx="2891392" cy="907380"/>
            </a:xfrm>
            <a:prstGeom prst="bentUpArrow">
              <a:avLst>
                <a:gd name="adj1" fmla="val 11770"/>
                <a:gd name="adj2" fmla="val 12940"/>
                <a:gd name="adj3" fmla="val 1096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72" name="Gruppieren 71"/>
            <p:cNvGrpSpPr/>
            <p:nvPr/>
          </p:nvGrpSpPr>
          <p:grpSpPr>
            <a:xfrm>
              <a:off x="7818082" y="4729489"/>
              <a:ext cx="406955" cy="440193"/>
              <a:chOff x="8132866" y="4276666"/>
              <a:chExt cx="406955" cy="440193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8132866" y="4276666"/>
                <a:ext cx="406955" cy="440193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65" name="Gruppieren 64"/>
              <p:cNvGrpSpPr/>
              <p:nvPr/>
            </p:nvGrpSpPr>
            <p:grpSpPr>
              <a:xfrm>
                <a:off x="8181038" y="4313934"/>
                <a:ext cx="310612" cy="365657"/>
                <a:chOff x="7370724" y="5985632"/>
                <a:chExt cx="453172" cy="533481"/>
              </a:xfrm>
            </p:grpSpPr>
            <p:sp>
              <p:nvSpPr>
                <p:cNvPr id="10" name="Freeform 820">
                  <a:extLst>
                    <a:ext uri="{FF2B5EF4-FFF2-40B4-BE49-F238E27FC236}">
                      <a16:creationId xmlns:a16="http://schemas.microsoft.com/office/drawing/2014/main" id="{BE5D51E0-31AE-49BC-A534-99101C38E47D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7370724" y="5985632"/>
                  <a:ext cx="453172" cy="533481"/>
                </a:xfrm>
                <a:custGeom>
                  <a:avLst/>
                  <a:gdLst>
                    <a:gd name="T0" fmla="*/ 502 w 502"/>
                    <a:gd name="T1" fmla="*/ 178 h 585"/>
                    <a:gd name="T2" fmla="*/ 502 w 502"/>
                    <a:gd name="T3" fmla="*/ 554 h 585"/>
                    <a:gd name="T4" fmla="*/ 471 w 502"/>
                    <a:gd name="T5" fmla="*/ 585 h 585"/>
                    <a:gd name="T6" fmla="*/ 31 w 502"/>
                    <a:gd name="T7" fmla="*/ 585 h 585"/>
                    <a:gd name="T8" fmla="*/ 0 w 502"/>
                    <a:gd name="T9" fmla="*/ 554 h 585"/>
                    <a:gd name="T10" fmla="*/ 0 w 502"/>
                    <a:gd name="T11" fmla="*/ 31 h 585"/>
                    <a:gd name="T12" fmla="*/ 31 w 502"/>
                    <a:gd name="T13" fmla="*/ 0 h 585"/>
                    <a:gd name="T14" fmla="*/ 324 w 502"/>
                    <a:gd name="T15" fmla="*/ 0 h 585"/>
                    <a:gd name="T16" fmla="*/ 378 w 502"/>
                    <a:gd name="T17" fmla="*/ 22 h 585"/>
                    <a:gd name="T18" fmla="*/ 480 w 502"/>
                    <a:gd name="T19" fmla="*/ 124 h 585"/>
                    <a:gd name="T20" fmla="*/ 502 w 502"/>
                    <a:gd name="T21" fmla="*/ 178 h 585"/>
                    <a:gd name="T22" fmla="*/ 460 w 502"/>
                    <a:gd name="T23" fmla="*/ 209 h 585"/>
                    <a:gd name="T24" fmla="*/ 324 w 502"/>
                    <a:gd name="T25" fmla="*/ 209 h 585"/>
                    <a:gd name="T26" fmla="*/ 293 w 502"/>
                    <a:gd name="T27" fmla="*/ 178 h 585"/>
                    <a:gd name="T28" fmla="*/ 293 w 502"/>
                    <a:gd name="T29" fmla="*/ 42 h 585"/>
                    <a:gd name="T30" fmla="*/ 42 w 502"/>
                    <a:gd name="T31" fmla="*/ 42 h 585"/>
                    <a:gd name="T32" fmla="*/ 42 w 502"/>
                    <a:gd name="T33" fmla="*/ 544 h 585"/>
                    <a:gd name="T34" fmla="*/ 460 w 502"/>
                    <a:gd name="T35" fmla="*/ 544 h 585"/>
                    <a:gd name="T36" fmla="*/ 460 w 502"/>
                    <a:gd name="T37" fmla="*/ 209 h 585"/>
                    <a:gd name="T38" fmla="*/ 335 w 502"/>
                    <a:gd name="T39" fmla="*/ 167 h 585"/>
                    <a:gd name="T40" fmla="*/ 457 w 502"/>
                    <a:gd name="T41" fmla="*/ 167 h 585"/>
                    <a:gd name="T42" fmla="*/ 450 w 502"/>
                    <a:gd name="T43" fmla="*/ 154 h 585"/>
                    <a:gd name="T44" fmla="*/ 348 w 502"/>
                    <a:gd name="T45" fmla="*/ 52 h 585"/>
                    <a:gd name="T46" fmla="*/ 335 w 502"/>
                    <a:gd name="T47" fmla="*/ 44 h 585"/>
                    <a:gd name="T48" fmla="*/ 335 w 502"/>
                    <a:gd name="T49" fmla="*/ 167 h 5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85">
                      <a:moveTo>
                        <a:pt x="502" y="178"/>
                      </a:moveTo>
                      <a:cubicBezTo>
                        <a:pt x="502" y="554"/>
                        <a:pt x="502" y="554"/>
                        <a:pt x="502" y="554"/>
                      </a:cubicBezTo>
                      <a:cubicBezTo>
                        <a:pt x="502" y="571"/>
                        <a:pt x="488" y="585"/>
                        <a:pt x="471" y="585"/>
                      </a:cubicBezTo>
                      <a:cubicBezTo>
                        <a:pt x="31" y="585"/>
                        <a:pt x="31" y="585"/>
                        <a:pt x="31" y="585"/>
                      </a:cubicBezTo>
                      <a:cubicBezTo>
                        <a:pt x="14" y="585"/>
                        <a:pt x="0" y="571"/>
                        <a:pt x="0" y="554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324" y="0"/>
                        <a:pt x="324" y="0"/>
                        <a:pt x="324" y="0"/>
                      </a:cubicBezTo>
                      <a:cubicBezTo>
                        <a:pt x="341" y="0"/>
                        <a:pt x="366" y="10"/>
                        <a:pt x="378" y="22"/>
                      </a:cubicBezTo>
                      <a:cubicBezTo>
                        <a:pt x="480" y="124"/>
                        <a:pt x="480" y="124"/>
                        <a:pt x="480" y="124"/>
                      </a:cubicBezTo>
                      <a:cubicBezTo>
                        <a:pt x="492" y="136"/>
                        <a:pt x="502" y="160"/>
                        <a:pt x="502" y="178"/>
                      </a:cubicBezTo>
                      <a:close/>
                      <a:moveTo>
                        <a:pt x="460" y="209"/>
                      </a:moveTo>
                      <a:cubicBezTo>
                        <a:pt x="324" y="209"/>
                        <a:pt x="324" y="209"/>
                        <a:pt x="324" y="209"/>
                      </a:cubicBezTo>
                      <a:cubicBezTo>
                        <a:pt x="307" y="209"/>
                        <a:pt x="293" y="195"/>
                        <a:pt x="293" y="178"/>
                      </a:cubicBezTo>
                      <a:cubicBezTo>
                        <a:pt x="293" y="42"/>
                        <a:pt x="293" y="42"/>
                        <a:pt x="293" y="42"/>
                      </a:cubicBezTo>
                      <a:cubicBezTo>
                        <a:pt x="42" y="42"/>
                        <a:pt x="42" y="42"/>
                        <a:pt x="42" y="42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60" y="544"/>
                        <a:pt x="460" y="544"/>
                        <a:pt x="460" y="544"/>
                      </a:cubicBezTo>
                      <a:lnTo>
                        <a:pt x="460" y="209"/>
                      </a:lnTo>
                      <a:close/>
                      <a:moveTo>
                        <a:pt x="335" y="167"/>
                      </a:moveTo>
                      <a:cubicBezTo>
                        <a:pt x="457" y="167"/>
                        <a:pt x="457" y="167"/>
                        <a:pt x="457" y="167"/>
                      </a:cubicBezTo>
                      <a:cubicBezTo>
                        <a:pt x="456" y="162"/>
                        <a:pt x="453" y="156"/>
                        <a:pt x="450" y="154"/>
                      </a:cubicBezTo>
                      <a:cubicBezTo>
                        <a:pt x="348" y="52"/>
                        <a:pt x="348" y="52"/>
                        <a:pt x="348" y="52"/>
                      </a:cubicBezTo>
                      <a:cubicBezTo>
                        <a:pt x="346" y="49"/>
                        <a:pt x="340" y="46"/>
                        <a:pt x="335" y="44"/>
                      </a:cubicBezTo>
                      <a:lnTo>
                        <a:pt x="335" y="167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11" name="Freeform 952">
                  <a:extLst>
                    <a:ext uri="{FF2B5EF4-FFF2-40B4-BE49-F238E27FC236}">
                      <a16:creationId xmlns:a16="http://schemas.microsoft.com/office/drawing/2014/main" id="{6DAA5999-042E-4ADE-9BEE-258ED9B6028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422022" y="6067885"/>
                  <a:ext cx="175288" cy="175288"/>
                </a:xfrm>
                <a:custGeom>
                  <a:avLst/>
                  <a:gdLst>
                    <a:gd name="T0" fmla="*/ 496 w 505"/>
                    <a:gd name="T1" fmla="*/ 296 h 505"/>
                    <a:gd name="T2" fmla="*/ 503 w 505"/>
                    <a:gd name="T3" fmla="*/ 319 h 505"/>
                    <a:gd name="T4" fmla="*/ 486 w 505"/>
                    <a:gd name="T5" fmla="*/ 336 h 505"/>
                    <a:gd name="T6" fmla="*/ 424 w 505"/>
                    <a:gd name="T7" fmla="*/ 352 h 505"/>
                    <a:gd name="T8" fmla="*/ 442 w 505"/>
                    <a:gd name="T9" fmla="*/ 412 h 505"/>
                    <a:gd name="T10" fmla="*/ 435 w 505"/>
                    <a:gd name="T11" fmla="*/ 435 h 505"/>
                    <a:gd name="T12" fmla="*/ 413 w 505"/>
                    <a:gd name="T13" fmla="*/ 442 h 505"/>
                    <a:gd name="T14" fmla="*/ 352 w 505"/>
                    <a:gd name="T15" fmla="*/ 424 h 505"/>
                    <a:gd name="T16" fmla="*/ 336 w 505"/>
                    <a:gd name="T17" fmla="*/ 486 h 505"/>
                    <a:gd name="T18" fmla="*/ 319 w 505"/>
                    <a:gd name="T19" fmla="*/ 503 h 505"/>
                    <a:gd name="T20" fmla="*/ 313 w 505"/>
                    <a:gd name="T21" fmla="*/ 503 h 505"/>
                    <a:gd name="T22" fmla="*/ 297 w 505"/>
                    <a:gd name="T23" fmla="*/ 496 h 505"/>
                    <a:gd name="T24" fmla="*/ 252 w 505"/>
                    <a:gd name="T25" fmla="*/ 451 h 505"/>
                    <a:gd name="T26" fmla="*/ 208 w 505"/>
                    <a:gd name="T27" fmla="*/ 496 h 505"/>
                    <a:gd name="T28" fmla="*/ 185 w 505"/>
                    <a:gd name="T29" fmla="*/ 503 h 505"/>
                    <a:gd name="T30" fmla="*/ 169 w 505"/>
                    <a:gd name="T31" fmla="*/ 486 h 505"/>
                    <a:gd name="T32" fmla="*/ 153 w 505"/>
                    <a:gd name="T33" fmla="*/ 424 h 505"/>
                    <a:gd name="T34" fmla="*/ 92 w 505"/>
                    <a:gd name="T35" fmla="*/ 442 h 505"/>
                    <a:gd name="T36" fmla="*/ 69 w 505"/>
                    <a:gd name="T37" fmla="*/ 435 h 505"/>
                    <a:gd name="T38" fmla="*/ 63 w 505"/>
                    <a:gd name="T39" fmla="*/ 412 h 505"/>
                    <a:gd name="T40" fmla="*/ 81 w 505"/>
                    <a:gd name="T41" fmla="*/ 352 h 505"/>
                    <a:gd name="T42" fmla="*/ 19 w 505"/>
                    <a:gd name="T43" fmla="*/ 336 h 505"/>
                    <a:gd name="T44" fmla="*/ 2 w 505"/>
                    <a:gd name="T45" fmla="*/ 319 h 505"/>
                    <a:gd name="T46" fmla="*/ 9 w 505"/>
                    <a:gd name="T47" fmla="*/ 296 h 505"/>
                    <a:gd name="T48" fmla="*/ 54 w 505"/>
                    <a:gd name="T49" fmla="*/ 252 h 505"/>
                    <a:gd name="T50" fmla="*/ 9 w 505"/>
                    <a:gd name="T51" fmla="*/ 208 h 505"/>
                    <a:gd name="T52" fmla="*/ 2 w 505"/>
                    <a:gd name="T53" fmla="*/ 185 h 505"/>
                    <a:gd name="T54" fmla="*/ 19 w 505"/>
                    <a:gd name="T55" fmla="*/ 169 h 505"/>
                    <a:gd name="T56" fmla="*/ 81 w 505"/>
                    <a:gd name="T57" fmla="*/ 153 h 505"/>
                    <a:gd name="T58" fmla="*/ 63 w 505"/>
                    <a:gd name="T59" fmla="*/ 92 h 505"/>
                    <a:gd name="T60" fmla="*/ 69 w 505"/>
                    <a:gd name="T61" fmla="*/ 69 h 505"/>
                    <a:gd name="T62" fmla="*/ 92 w 505"/>
                    <a:gd name="T63" fmla="*/ 63 h 505"/>
                    <a:gd name="T64" fmla="*/ 153 w 505"/>
                    <a:gd name="T65" fmla="*/ 80 h 505"/>
                    <a:gd name="T66" fmla="*/ 169 w 505"/>
                    <a:gd name="T67" fmla="*/ 19 h 505"/>
                    <a:gd name="T68" fmla="*/ 185 w 505"/>
                    <a:gd name="T69" fmla="*/ 2 h 505"/>
                    <a:gd name="T70" fmla="*/ 208 w 505"/>
                    <a:gd name="T71" fmla="*/ 9 h 505"/>
                    <a:gd name="T72" fmla="*/ 252 w 505"/>
                    <a:gd name="T73" fmla="*/ 54 h 505"/>
                    <a:gd name="T74" fmla="*/ 297 w 505"/>
                    <a:gd name="T75" fmla="*/ 9 h 505"/>
                    <a:gd name="T76" fmla="*/ 319 w 505"/>
                    <a:gd name="T77" fmla="*/ 2 h 505"/>
                    <a:gd name="T78" fmla="*/ 336 w 505"/>
                    <a:gd name="T79" fmla="*/ 19 h 505"/>
                    <a:gd name="T80" fmla="*/ 352 w 505"/>
                    <a:gd name="T81" fmla="*/ 80 h 505"/>
                    <a:gd name="T82" fmla="*/ 413 w 505"/>
                    <a:gd name="T83" fmla="*/ 63 h 505"/>
                    <a:gd name="T84" fmla="*/ 435 w 505"/>
                    <a:gd name="T85" fmla="*/ 69 h 505"/>
                    <a:gd name="T86" fmla="*/ 442 w 505"/>
                    <a:gd name="T87" fmla="*/ 92 h 505"/>
                    <a:gd name="T88" fmla="*/ 424 w 505"/>
                    <a:gd name="T89" fmla="*/ 153 h 505"/>
                    <a:gd name="T90" fmla="*/ 486 w 505"/>
                    <a:gd name="T91" fmla="*/ 169 h 505"/>
                    <a:gd name="T92" fmla="*/ 503 w 505"/>
                    <a:gd name="T93" fmla="*/ 185 h 505"/>
                    <a:gd name="T94" fmla="*/ 496 w 505"/>
                    <a:gd name="T95" fmla="*/ 208 h 505"/>
                    <a:gd name="T96" fmla="*/ 451 w 505"/>
                    <a:gd name="T97" fmla="*/ 252 h 505"/>
                    <a:gd name="T98" fmla="*/ 496 w 505"/>
                    <a:gd name="T99" fmla="*/ 296 h 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05" h="505">
                      <a:moveTo>
                        <a:pt x="496" y="296"/>
                      </a:moveTo>
                      <a:cubicBezTo>
                        <a:pt x="502" y="302"/>
                        <a:pt x="505" y="311"/>
                        <a:pt x="503" y="319"/>
                      </a:cubicBezTo>
                      <a:cubicBezTo>
                        <a:pt x="500" y="327"/>
                        <a:pt x="494" y="334"/>
                        <a:pt x="486" y="336"/>
                      </a:cubicBezTo>
                      <a:cubicBezTo>
                        <a:pt x="424" y="352"/>
                        <a:pt x="424" y="352"/>
                        <a:pt x="424" y="352"/>
                      </a:cubicBezTo>
                      <a:cubicBezTo>
                        <a:pt x="442" y="412"/>
                        <a:pt x="442" y="412"/>
                        <a:pt x="442" y="412"/>
                      </a:cubicBezTo>
                      <a:cubicBezTo>
                        <a:pt x="444" y="421"/>
                        <a:pt x="442" y="429"/>
                        <a:pt x="435" y="435"/>
                      </a:cubicBezTo>
                      <a:cubicBezTo>
                        <a:pt x="430" y="442"/>
                        <a:pt x="421" y="444"/>
                        <a:pt x="413" y="442"/>
                      </a:cubicBezTo>
                      <a:cubicBezTo>
                        <a:pt x="352" y="424"/>
                        <a:pt x="352" y="424"/>
                        <a:pt x="352" y="424"/>
                      </a:cubicBezTo>
                      <a:cubicBezTo>
                        <a:pt x="336" y="486"/>
                        <a:pt x="336" y="486"/>
                        <a:pt x="336" y="486"/>
                      </a:cubicBezTo>
                      <a:cubicBezTo>
                        <a:pt x="334" y="494"/>
                        <a:pt x="328" y="500"/>
                        <a:pt x="319" y="503"/>
                      </a:cubicBezTo>
                      <a:cubicBezTo>
                        <a:pt x="317" y="503"/>
                        <a:pt x="315" y="503"/>
                        <a:pt x="313" y="503"/>
                      </a:cubicBezTo>
                      <a:cubicBezTo>
                        <a:pt x="307" y="503"/>
                        <a:pt x="301" y="501"/>
                        <a:pt x="297" y="496"/>
                      </a:cubicBezTo>
                      <a:cubicBezTo>
                        <a:pt x="252" y="451"/>
                        <a:pt x="252" y="451"/>
                        <a:pt x="252" y="451"/>
                      </a:cubicBezTo>
                      <a:cubicBezTo>
                        <a:pt x="208" y="496"/>
                        <a:pt x="208" y="496"/>
                        <a:pt x="208" y="496"/>
                      </a:cubicBezTo>
                      <a:cubicBezTo>
                        <a:pt x="202" y="502"/>
                        <a:pt x="194" y="505"/>
                        <a:pt x="185" y="503"/>
                      </a:cubicBezTo>
                      <a:cubicBezTo>
                        <a:pt x="177" y="500"/>
                        <a:pt x="171" y="494"/>
                        <a:pt x="169" y="486"/>
                      </a:cubicBezTo>
                      <a:cubicBezTo>
                        <a:pt x="153" y="424"/>
                        <a:pt x="153" y="424"/>
                        <a:pt x="153" y="424"/>
                      </a:cubicBezTo>
                      <a:cubicBezTo>
                        <a:pt x="92" y="442"/>
                        <a:pt x="92" y="442"/>
                        <a:pt x="92" y="442"/>
                      </a:cubicBezTo>
                      <a:cubicBezTo>
                        <a:pt x="84" y="444"/>
                        <a:pt x="75" y="442"/>
                        <a:pt x="69" y="435"/>
                      </a:cubicBezTo>
                      <a:cubicBezTo>
                        <a:pt x="63" y="429"/>
                        <a:pt x="61" y="421"/>
                        <a:pt x="63" y="412"/>
                      </a:cubicBezTo>
                      <a:cubicBezTo>
                        <a:pt x="81" y="352"/>
                        <a:pt x="81" y="352"/>
                        <a:pt x="81" y="352"/>
                      </a:cubicBezTo>
                      <a:cubicBezTo>
                        <a:pt x="19" y="336"/>
                        <a:pt x="19" y="336"/>
                        <a:pt x="19" y="336"/>
                      </a:cubicBezTo>
                      <a:cubicBezTo>
                        <a:pt x="11" y="334"/>
                        <a:pt x="4" y="327"/>
                        <a:pt x="2" y="319"/>
                      </a:cubicBezTo>
                      <a:cubicBezTo>
                        <a:pt x="0" y="311"/>
                        <a:pt x="2" y="302"/>
                        <a:pt x="9" y="296"/>
                      </a:cubicBezTo>
                      <a:cubicBezTo>
                        <a:pt x="54" y="252"/>
                        <a:pt x="54" y="252"/>
                        <a:pt x="54" y="252"/>
                      </a:cubicBezTo>
                      <a:cubicBezTo>
                        <a:pt x="9" y="208"/>
                        <a:pt x="9" y="208"/>
                        <a:pt x="9" y="208"/>
                      </a:cubicBezTo>
                      <a:cubicBezTo>
                        <a:pt x="2" y="202"/>
                        <a:pt x="0" y="193"/>
                        <a:pt x="2" y="185"/>
                      </a:cubicBezTo>
                      <a:cubicBezTo>
                        <a:pt x="4" y="177"/>
                        <a:pt x="11" y="171"/>
                        <a:pt x="19" y="169"/>
                      </a:cubicBezTo>
                      <a:cubicBezTo>
                        <a:pt x="81" y="153"/>
                        <a:pt x="81" y="153"/>
                        <a:pt x="81" y="153"/>
                      </a:cubicBezTo>
                      <a:cubicBezTo>
                        <a:pt x="63" y="92"/>
                        <a:pt x="63" y="92"/>
                        <a:pt x="63" y="92"/>
                      </a:cubicBezTo>
                      <a:cubicBezTo>
                        <a:pt x="61" y="84"/>
                        <a:pt x="63" y="75"/>
                        <a:pt x="69" y="69"/>
                      </a:cubicBezTo>
                      <a:cubicBezTo>
                        <a:pt x="75" y="63"/>
                        <a:pt x="84" y="61"/>
                        <a:pt x="92" y="63"/>
                      </a:cubicBezTo>
                      <a:cubicBezTo>
                        <a:pt x="153" y="80"/>
                        <a:pt x="153" y="80"/>
                        <a:pt x="153" y="80"/>
                      </a:cubicBezTo>
                      <a:cubicBezTo>
                        <a:pt x="169" y="19"/>
                        <a:pt x="169" y="19"/>
                        <a:pt x="169" y="19"/>
                      </a:cubicBezTo>
                      <a:cubicBezTo>
                        <a:pt x="171" y="11"/>
                        <a:pt x="177" y="4"/>
                        <a:pt x="185" y="2"/>
                      </a:cubicBezTo>
                      <a:cubicBezTo>
                        <a:pt x="194" y="0"/>
                        <a:pt x="202" y="2"/>
                        <a:pt x="208" y="9"/>
                      </a:cubicBezTo>
                      <a:cubicBezTo>
                        <a:pt x="252" y="54"/>
                        <a:pt x="252" y="54"/>
                        <a:pt x="252" y="54"/>
                      </a:cubicBezTo>
                      <a:cubicBezTo>
                        <a:pt x="297" y="9"/>
                        <a:pt x="297" y="9"/>
                        <a:pt x="297" y="9"/>
                      </a:cubicBezTo>
                      <a:cubicBezTo>
                        <a:pt x="302" y="2"/>
                        <a:pt x="311" y="0"/>
                        <a:pt x="319" y="2"/>
                      </a:cubicBezTo>
                      <a:cubicBezTo>
                        <a:pt x="328" y="4"/>
                        <a:pt x="334" y="11"/>
                        <a:pt x="336" y="19"/>
                      </a:cubicBezTo>
                      <a:cubicBezTo>
                        <a:pt x="352" y="80"/>
                        <a:pt x="352" y="80"/>
                        <a:pt x="352" y="80"/>
                      </a:cubicBezTo>
                      <a:cubicBezTo>
                        <a:pt x="413" y="63"/>
                        <a:pt x="413" y="63"/>
                        <a:pt x="413" y="63"/>
                      </a:cubicBezTo>
                      <a:cubicBezTo>
                        <a:pt x="421" y="61"/>
                        <a:pt x="430" y="63"/>
                        <a:pt x="435" y="69"/>
                      </a:cubicBezTo>
                      <a:cubicBezTo>
                        <a:pt x="442" y="75"/>
                        <a:pt x="444" y="84"/>
                        <a:pt x="442" y="92"/>
                      </a:cubicBezTo>
                      <a:cubicBezTo>
                        <a:pt x="424" y="153"/>
                        <a:pt x="424" y="153"/>
                        <a:pt x="424" y="153"/>
                      </a:cubicBezTo>
                      <a:cubicBezTo>
                        <a:pt x="486" y="169"/>
                        <a:pt x="486" y="169"/>
                        <a:pt x="486" y="169"/>
                      </a:cubicBezTo>
                      <a:cubicBezTo>
                        <a:pt x="494" y="171"/>
                        <a:pt x="500" y="177"/>
                        <a:pt x="503" y="185"/>
                      </a:cubicBezTo>
                      <a:cubicBezTo>
                        <a:pt x="505" y="193"/>
                        <a:pt x="502" y="202"/>
                        <a:pt x="496" y="208"/>
                      </a:cubicBezTo>
                      <a:cubicBezTo>
                        <a:pt x="451" y="252"/>
                        <a:pt x="451" y="252"/>
                        <a:pt x="451" y="252"/>
                      </a:cubicBezTo>
                      <a:lnTo>
                        <a:pt x="496" y="2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  <p:grpSp>
          <p:nvGrpSpPr>
            <p:cNvPr id="71" name="Gruppieren 70"/>
            <p:cNvGrpSpPr/>
            <p:nvPr/>
          </p:nvGrpSpPr>
          <p:grpSpPr>
            <a:xfrm>
              <a:off x="8325708" y="4275151"/>
              <a:ext cx="406955" cy="440193"/>
              <a:chOff x="7763531" y="5213805"/>
              <a:chExt cx="406955" cy="440193"/>
            </a:xfrm>
          </p:grpSpPr>
          <p:sp>
            <p:nvSpPr>
              <p:cNvPr id="67" name="Rechteck 66"/>
              <p:cNvSpPr/>
              <p:nvPr/>
            </p:nvSpPr>
            <p:spPr>
              <a:xfrm>
                <a:off x="7763531" y="5213805"/>
                <a:ext cx="406955" cy="440193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Freeform 1104">
                <a:extLst>
                  <a:ext uri="{FF2B5EF4-FFF2-40B4-BE49-F238E27FC236}">
                    <a16:creationId xmlns:a16="http://schemas.microsoft.com/office/drawing/2014/main" id="{85512BDD-9F07-4AB4-8232-7AF66AC2CD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60503" y="5287205"/>
                <a:ext cx="213011" cy="293392"/>
              </a:xfrm>
              <a:custGeom>
                <a:avLst/>
                <a:gdLst>
                  <a:gd name="T0" fmla="*/ 331 w 332"/>
                  <a:gd name="T1" fmla="*/ 437 h 460"/>
                  <a:gd name="T2" fmla="*/ 324 w 332"/>
                  <a:gd name="T3" fmla="*/ 449 h 460"/>
                  <a:gd name="T4" fmla="*/ 253 w 332"/>
                  <a:gd name="T5" fmla="*/ 460 h 460"/>
                  <a:gd name="T6" fmla="*/ 42 w 332"/>
                  <a:gd name="T7" fmla="*/ 303 h 460"/>
                  <a:gd name="T8" fmla="*/ 11 w 332"/>
                  <a:gd name="T9" fmla="*/ 303 h 460"/>
                  <a:gd name="T10" fmla="*/ 0 w 332"/>
                  <a:gd name="T11" fmla="*/ 292 h 460"/>
                  <a:gd name="T12" fmla="*/ 0 w 332"/>
                  <a:gd name="T13" fmla="*/ 255 h 460"/>
                  <a:gd name="T14" fmla="*/ 11 w 332"/>
                  <a:gd name="T15" fmla="*/ 245 h 460"/>
                  <a:gd name="T16" fmla="*/ 32 w 332"/>
                  <a:gd name="T17" fmla="*/ 245 h 460"/>
                  <a:gd name="T18" fmla="*/ 33 w 332"/>
                  <a:gd name="T19" fmla="*/ 210 h 460"/>
                  <a:gd name="T20" fmla="*/ 11 w 332"/>
                  <a:gd name="T21" fmla="*/ 210 h 460"/>
                  <a:gd name="T22" fmla="*/ 0 w 332"/>
                  <a:gd name="T23" fmla="*/ 200 h 460"/>
                  <a:gd name="T24" fmla="*/ 0 w 332"/>
                  <a:gd name="T25" fmla="*/ 163 h 460"/>
                  <a:gd name="T26" fmla="*/ 11 w 332"/>
                  <a:gd name="T27" fmla="*/ 152 h 460"/>
                  <a:gd name="T28" fmla="*/ 43 w 332"/>
                  <a:gd name="T29" fmla="*/ 152 h 460"/>
                  <a:gd name="T30" fmla="*/ 253 w 332"/>
                  <a:gd name="T31" fmla="*/ 0 h 460"/>
                  <a:gd name="T32" fmla="*/ 316 w 332"/>
                  <a:gd name="T33" fmla="*/ 8 h 460"/>
                  <a:gd name="T34" fmla="*/ 323 w 332"/>
                  <a:gd name="T35" fmla="*/ 12 h 460"/>
                  <a:gd name="T36" fmla="*/ 324 w 332"/>
                  <a:gd name="T37" fmla="*/ 20 h 460"/>
                  <a:gd name="T38" fmla="*/ 310 w 332"/>
                  <a:gd name="T39" fmla="*/ 72 h 460"/>
                  <a:gd name="T40" fmla="*/ 298 w 332"/>
                  <a:gd name="T41" fmla="*/ 79 h 460"/>
                  <a:gd name="T42" fmla="*/ 252 w 332"/>
                  <a:gd name="T43" fmla="*/ 74 h 460"/>
                  <a:gd name="T44" fmla="*/ 129 w 332"/>
                  <a:gd name="T45" fmla="*/ 152 h 460"/>
                  <a:gd name="T46" fmla="*/ 282 w 332"/>
                  <a:gd name="T47" fmla="*/ 152 h 460"/>
                  <a:gd name="T48" fmla="*/ 290 w 332"/>
                  <a:gd name="T49" fmla="*/ 156 h 460"/>
                  <a:gd name="T50" fmla="*/ 292 w 332"/>
                  <a:gd name="T51" fmla="*/ 165 h 460"/>
                  <a:gd name="T52" fmla="*/ 284 w 332"/>
                  <a:gd name="T53" fmla="*/ 202 h 460"/>
                  <a:gd name="T54" fmla="*/ 274 w 332"/>
                  <a:gd name="T55" fmla="*/ 210 h 460"/>
                  <a:gd name="T56" fmla="*/ 115 w 332"/>
                  <a:gd name="T57" fmla="*/ 210 h 460"/>
                  <a:gd name="T58" fmla="*/ 115 w 332"/>
                  <a:gd name="T59" fmla="*/ 245 h 460"/>
                  <a:gd name="T60" fmla="*/ 265 w 332"/>
                  <a:gd name="T61" fmla="*/ 245 h 460"/>
                  <a:gd name="T62" fmla="*/ 273 w 332"/>
                  <a:gd name="T63" fmla="*/ 249 h 460"/>
                  <a:gd name="T64" fmla="*/ 275 w 332"/>
                  <a:gd name="T65" fmla="*/ 257 h 460"/>
                  <a:gd name="T66" fmla="*/ 267 w 332"/>
                  <a:gd name="T67" fmla="*/ 294 h 460"/>
                  <a:gd name="T68" fmla="*/ 257 w 332"/>
                  <a:gd name="T69" fmla="*/ 303 h 460"/>
                  <a:gd name="T70" fmla="*/ 130 w 332"/>
                  <a:gd name="T71" fmla="*/ 303 h 460"/>
                  <a:gd name="T72" fmla="*/ 254 w 332"/>
                  <a:gd name="T73" fmla="*/ 386 h 460"/>
                  <a:gd name="T74" fmla="*/ 306 w 332"/>
                  <a:gd name="T75" fmla="*/ 378 h 460"/>
                  <a:gd name="T76" fmla="*/ 314 w 332"/>
                  <a:gd name="T77" fmla="*/ 378 h 460"/>
                  <a:gd name="T78" fmla="*/ 319 w 332"/>
                  <a:gd name="T79" fmla="*/ 385 h 460"/>
                  <a:gd name="T80" fmla="*/ 331 w 332"/>
                  <a:gd name="T81" fmla="*/ 437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32" h="460">
                    <a:moveTo>
                      <a:pt x="331" y="437"/>
                    </a:moveTo>
                    <a:cubicBezTo>
                      <a:pt x="332" y="442"/>
                      <a:pt x="329" y="448"/>
                      <a:pt x="324" y="449"/>
                    </a:cubicBezTo>
                    <a:cubicBezTo>
                      <a:pt x="323" y="450"/>
                      <a:pt x="292" y="460"/>
                      <a:pt x="253" y="460"/>
                    </a:cubicBezTo>
                    <a:cubicBezTo>
                      <a:pt x="151" y="460"/>
                      <a:pt x="69" y="399"/>
                      <a:pt x="42" y="303"/>
                    </a:cubicBezTo>
                    <a:cubicBezTo>
                      <a:pt x="11" y="303"/>
                      <a:pt x="11" y="303"/>
                      <a:pt x="11" y="303"/>
                    </a:cubicBezTo>
                    <a:cubicBezTo>
                      <a:pt x="5" y="303"/>
                      <a:pt x="0" y="298"/>
                      <a:pt x="0" y="292"/>
                    </a:cubicBezTo>
                    <a:cubicBezTo>
                      <a:pt x="0" y="255"/>
                      <a:pt x="0" y="255"/>
                      <a:pt x="0" y="255"/>
                    </a:cubicBezTo>
                    <a:cubicBezTo>
                      <a:pt x="0" y="250"/>
                      <a:pt x="5" y="245"/>
                      <a:pt x="11" y="245"/>
                    </a:cubicBezTo>
                    <a:cubicBezTo>
                      <a:pt x="32" y="245"/>
                      <a:pt x="32" y="245"/>
                      <a:pt x="32" y="245"/>
                    </a:cubicBezTo>
                    <a:cubicBezTo>
                      <a:pt x="32" y="234"/>
                      <a:pt x="32" y="222"/>
                      <a:pt x="33" y="210"/>
                    </a:cubicBezTo>
                    <a:cubicBezTo>
                      <a:pt x="11" y="210"/>
                      <a:pt x="11" y="210"/>
                      <a:pt x="11" y="210"/>
                    </a:cubicBezTo>
                    <a:cubicBezTo>
                      <a:pt x="5" y="210"/>
                      <a:pt x="0" y="206"/>
                      <a:pt x="0" y="200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157"/>
                      <a:pt x="5" y="152"/>
                      <a:pt x="11" y="152"/>
                    </a:cubicBezTo>
                    <a:cubicBezTo>
                      <a:pt x="43" y="152"/>
                      <a:pt x="43" y="152"/>
                      <a:pt x="43" y="152"/>
                    </a:cubicBezTo>
                    <a:cubicBezTo>
                      <a:pt x="72" y="61"/>
                      <a:pt x="155" y="0"/>
                      <a:pt x="253" y="0"/>
                    </a:cubicBezTo>
                    <a:cubicBezTo>
                      <a:pt x="287" y="0"/>
                      <a:pt x="315" y="7"/>
                      <a:pt x="316" y="8"/>
                    </a:cubicBezTo>
                    <a:cubicBezTo>
                      <a:pt x="319" y="8"/>
                      <a:pt x="321" y="10"/>
                      <a:pt x="323" y="12"/>
                    </a:cubicBezTo>
                    <a:cubicBezTo>
                      <a:pt x="324" y="15"/>
                      <a:pt x="325" y="18"/>
                      <a:pt x="324" y="20"/>
                    </a:cubicBezTo>
                    <a:cubicBezTo>
                      <a:pt x="310" y="72"/>
                      <a:pt x="310" y="72"/>
                      <a:pt x="310" y="72"/>
                    </a:cubicBezTo>
                    <a:cubicBezTo>
                      <a:pt x="309" y="78"/>
                      <a:pt x="303" y="81"/>
                      <a:pt x="298" y="79"/>
                    </a:cubicBezTo>
                    <a:cubicBezTo>
                      <a:pt x="297" y="79"/>
                      <a:pt x="275" y="74"/>
                      <a:pt x="252" y="74"/>
                    </a:cubicBezTo>
                    <a:cubicBezTo>
                      <a:pt x="197" y="74"/>
                      <a:pt x="151" y="104"/>
                      <a:pt x="129" y="152"/>
                    </a:cubicBezTo>
                    <a:cubicBezTo>
                      <a:pt x="282" y="152"/>
                      <a:pt x="282" y="152"/>
                      <a:pt x="282" y="152"/>
                    </a:cubicBezTo>
                    <a:cubicBezTo>
                      <a:pt x="285" y="152"/>
                      <a:pt x="288" y="154"/>
                      <a:pt x="290" y="156"/>
                    </a:cubicBezTo>
                    <a:cubicBezTo>
                      <a:pt x="292" y="158"/>
                      <a:pt x="293" y="162"/>
                      <a:pt x="292" y="165"/>
                    </a:cubicBezTo>
                    <a:cubicBezTo>
                      <a:pt x="284" y="202"/>
                      <a:pt x="284" y="202"/>
                      <a:pt x="284" y="202"/>
                    </a:cubicBezTo>
                    <a:cubicBezTo>
                      <a:pt x="283" y="207"/>
                      <a:pt x="279" y="210"/>
                      <a:pt x="274" y="210"/>
                    </a:cubicBezTo>
                    <a:cubicBezTo>
                      <a:pt x="115" y="210"/>
                      <a:pt x="115" y="210"/>
                      <a:pt x="115" y="210"/>
                    </a:cubicBezTo>
                    <a:cubicBezTo>
                      <a:pt x="114" y="221"/>
                      <a:pt x="114" y="232"/>
                      <a:pt x="115" y="245"/>
                    </a:cubicBezTo>
                    <a:cubicBezTo>
                      <a:pt x="265" y="245"/>
                      <a:pt x="265" y="245"/>
                      <a:pt x="265" y="245"/>
                    </a:cubicBezTo>
                    <a:cubicBezTo>
                      <a:pt x="268" y="245"/>
                      <a:pt x="271" y="246"/>
                      <a:pt x="273" y="249"/>
                    </a:cubicBezTo>
                    <a:cubicBezTo>
                      <a:pt x="275" y="251"/>
                      <a:pt x="275" y="255"/>
                      <a:pt x="275" y="257"/>
                    </a:cubicBezTo>
                    <a:cubicBezTo>
                      <a:pt x="267" y="294"/>
                      <a:pt x="267" y="294"/>
                      <a:pt x="267" y="294"/>
                    </a:cubicBezTo>
                    <a:cubicBezTo>
                      <a:pt x="266" y="299"/>
                      <a:pt x="262" y="303"/>
                      <a:pt x="257" y="303"/>
                    </a:cubicBezTo>
                    <a:cubicBezTo>
                      <a:pt x="130" y="303"/>
                      <a:pt x="130" y="303"/>
                      <a:pt x="130" y="303"/>
                    </a:cubicBezTo>
                    <a:cubicBezTo>
                      <a:pt x="151" y="354"/>
                      <a:pt x="198" y="386"/>
                      <a:pt x="254" y="386"/>
                    </a:cubicBezTo>
                    <a:cubicBezTo>
                      <a:pt x="282" y="386"/>
                      <a:pt x="305" y="378"/>
                      <a:pt x="306" y="378"/>
                    </a:cubicBezTo>
                    <a:cubicBezTo>
                      <a:pt x="308" y="377"/>
                      <a:pt x="312" y="377"/>
                      <a:pt x="314" y="378"/>
                    </a:cubicBezTo>
                    <a:cubicBezTo>
                      <a:pt x="317" y="380"/>
                      <a:pt x="318" y="383"/>
                      <a:pt x="319" y="385"/>
                    </a:cubicBezTo>
                    <a:lnTo>
                      <a:pt x="331" y="43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73" name="Textfeld 72"/>
          <p:cNvSpPr txBox="1"/>
          <p:nvPr/>
        </p:nvSpPr>
        <p:spPr>
          <a:xfrm>
            <a:off x="1281108" y="6363696"/>
            <a:ext cx="3191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verag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mission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factor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7556647" y="6363696"/>
            <a:ext cx="3498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pplier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-specific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mission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factor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feld 76"/>
          <p:cNvSpPr txBox="1"/>
          <p:nvPr/>
        </p:nvSpPr>
        <p:spPr>
          <a:xfrm rot="16200000">
            <a:off x="4268147" y="4155309"/>
            <a:ext cx="2261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 smtClean="0">
                <a:latin typeface="Arial" panose="020B0604020202020204" pitchFamily="34" charset="0"/>
                <a:cs typeface="Arial" panose="020B0604020202020204" pitchFamily="34" charset="0"/>
              </a:rPr>
              <a:t>System boundaries</a:t>
            </a:r>
            <a:endParaRPr lang="de-DE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23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</Words>
  <Application>Microsoft Office PowerPoint</Application>
  <PresentationFormat>Breitbild</PresentationFormat>
  <Paragraphs>12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Cambria Math</vt:lpstr>
      <vt:lpstr>Office</vt:lpstr>
      <vt:lpstr>PowerPoint-Präsentation</vt:lpstr>
    </vt:vector>
  </TitlesOfParts>
  <Company>TU Braunschweig IW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lte Schäfer</dc:creator>
  <cp:lastModifiedBy>Malte Schäfer</cp:lastModifiedBy>
  <cp:revision>19</cp:revision>
  <dcterms:created xsi:type="dcterms:W3CDTF">2023-02-02T16:36:15Z</dcterms:created>
  <dcterms:modified xsi:type="dcterms:W3CDTF">2023-11-08T14:14:37Z</dcterms:modified>
</cp:coreProperties>
</file>